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6" r:id="rId2"/>
  </p:sldIdLst>
  <p:sldSz cx="9144000" cy="6858000" type="screen4x3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itani,Akinori 富谷聡学(安全性推進部安全性コミュニケＧ)" initials="T富" lastIdx="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66FF"/>
    <a:srgbClr val="0000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632" autoAdjust="0"/>
    <p:restoredTop sz="94660"/>
  </p:normalViewPr>
  <p:slideViewPr>
    <p:cSldViewPr snapToGrid="0">
      <p:cViewPr>
        <p:scale>
          <a:sx n="73" d="100"/>
          <a:sy n="73" d="100"/>
        </p:scale>
        <p:origin x="-582" y="-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image" Target="../media/image4.wmf"/><Relationship Id="rId7" Type="http://schemas.openxmlformats.org/officeDocument/2006/relationships/image" Target="../media/image8.wmf"/><Relationship Id="rId2" Type="http://schemas.openxmlformats.org/officeDocument/2006/relationships/image" Target="../media/image3.wmf"/><Relationship Id="rId1" Type="http://schemas.openxmlformats.org/officeDocument/2006/relationships/image" Target="../media/image2.wmf"/><Relationship Id="rId6" Type="http://schemas.openxmlformats.org/officeDocument/2006/relationships/image" Target="../media/image7.wmf"/><Relationship Id="rId5" Type="http://schemas.openxmlformats.org/officeDocument/2006/relationships/image" Target="../media/image6.wmf"/><Relationship Id="rId4" Type="http://schemas.openxmlformats.org/officeDocument/2006/relationships/image" Target="../media/image5.wmf"/><Relationship Id="rId9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E9414-764C-4C69-89FA-63FF2738E9D3}" type="datetimeFigureOut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1C69F-E2EF-4DBA-BB86-2A9F978F70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7073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/>
          <p:cNvSpPr/>
          <p:nvPr userDrawn="1"/>
        </p:nvSpPr>
        <p:spPr>
          <a:xfrm>
            <a:off x="0" y="10365"/>
            <a:ext cx="9144000" cy="6847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9C673-E93A-4410-B521-B51C30BF34FA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2996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26026-ED64-40EC-94EA-B0F0B3A41CBB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943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CAB80-02AD-4133-B0BD-69EFFB945D29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80341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61BD6-52A8-4C94-9784-3D308D5532E5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26721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D6F6-259C-48EC-91FB-89C664DCA964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109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90D3B-6448-43C1-8C80-37EFCF5F6EBD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6852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E45D8-BF63-4CC1-94F2-5A1DD4CD314E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1451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0B9C1-69D1-4FE7-8508-E2BF47906756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07630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66406-9391-4A2C-9A45-F04C366097D8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8827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77C2A-CAA7-4215-A616-644DF0615E4A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4635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B1277-3BDC-4E24-9C02-CE927537DBBE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482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5551A-00E6-458A-AB5A-DBEBB5E387B4}" type="datetime1">
              <a:rPr kumimoji="1" lang="ja-JP" altLang="en-US" smtClean="0"/>
              <a:t>2017/7/2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46446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47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6156" y="115888"/>
            <a:ext cx="535769" cy="596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31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468314" y="712694"/>
            <a:ext cx="7704137" cy="460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CCFF"/>
              </a:gs>
              <a:gs pos="50000">
                <a:schemeClr val="bg1"/>
              </a:gs>
              <a:gs pos="100000">
                <a:srgbClr val="66CCFF"/>
              </a:gs>
            </a:gsLst>
            <a:lin ang="0" scaled="1"/>
          </a:gradFill>
          <a:ln w="9525">
            <a:solidFill>
              <a:srgbClr val="66CCFF"/>
            </a:solidFill>
            <a:round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defTabSz="895255">
              <a:defRPr/>
            </a:pPr>
            <a:endParaRPr lang="ja-JP" altLang="en-US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016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4.wmf"/><Relationship Id="rId26" Type="http://schemas.openxmlformats.org/officeDocument/2006/relationships/image" Target="../media/image8.wmf"/><Relationship Id="rId3" Type="http://schemas.openxmlformats.org/officeDocument/2006/relationships/image" Target="../media/image11.png"/><Relationship Id="rId21" Type="http://schemas.openxmlformats.org/officeDocument/2006/relationships/oleObject" Target="../embeddings/oleObject5.bin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oleObject" Target="../embeddings/oleObject3.bin"/><Relationship Id="rId25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.wmf"/><Relationship Id="rId20" Type="http://schemas.openxmlformats.org/officeDocument/2006/relationships/image" Target="../media/image5.wmf"/><Relationship Id="rId29" Type="http://schemas.openxmlformats.org/officeDocument/2006/relationships/oleObject" Target="../embeddings/oleObject9.bin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image" Target="../media/image7.wmf"/><Relationship Id="rId5" Type="http://schemas.openxmlformats.org/officeDocument/2006/relationships/image" Target="../media/image13.png"/><Relationship Id="rId15" Type="http://schemas.openxmlformats.org/officeDocument/2006/relationships/oleObject" Target="../embeddings/oleObject2.bin"/><Relationship Id="rId23" Type="http://schemas.openxmlformats.org/officeDocument/2006/relationships/oleObject" Target="../embeddings/oleObject6.bin"/><Relationship Id="rId28" Type="http://schemas.openxmlformats.org/officeDocument/2006/relationships/image" Target="../media/image9.wmf"/><Relationship Id="rId10" Type="http://schemas.openxmlformats.org/officeDocument/2006/relationships/image" Target="../media/image18.png"/><Relationship Id="rId19" Type="http://schemas.openxmlformats.org/officeDocument/2006/relationships/oleObject" Target="../embeddings/oleObject4.bin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.wmf"/><Relationship Id="rId22" Type="http://schemas.openxmlformats.org/officeDocument/2006/relationships/image" Target="../media/image6.wmf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10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表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543898"/>
              </p:ext>
            </p:extLst>
          </p:nvPr>
        </p:nvGraphicFramePr>
        <p:xfrm>
          <a:off x="345116" y="838200"/>
          <a:ext cx="8388000" cy="5591072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68000"/>
                <a:gridCol w="2340000"/>
                <a:gridCol w="2340000"/>
                <a:gridCol w="2340000"/>
              </a:tblGrid>
              <a:tr h="1055072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</a:tbl>
          </a:graphicData>
        </a:graphic>
      </p:graphicFrame>
      <p:pic>
        <p:nvPicPr>
          <p:cNvPr id="17" name="図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2060324"/>
            <a:ext cx="2520701" cy="720853"/>
          </a:xfrm>
          <a:prstGeom prst="rect">
            <a:avLst/>
          </a:prstGeom>
        </p:spPr>
      </p:pic>
      <p:pic>
        <p:nvPicPr>
          <p:cNvPr id="18" name="図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3563433"/>
            <a:ext cx="2520701" cy="722377"/>
          </a:xfrm>
          <a:prstGeom prst="rect">
            <a:avLst/>
          </a:prstGeom>
        </p:spPr>
      </p:pic>
      <p:pic>
        <p:nvPicPr>
          <p:cNvPr id="19" name="図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5089489"/>
            <a:ext cx="2520701" cy="720853"/>
          </a:xfrm>
          <a:prstGeom prst="rect">
            <a:avLst/>
          </a:prstGeom>
        </p:spPr>
      </p:pic>
      <p:pic>
        <p:nvPicPr>
          <p:cNvPr id="20" name="図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2060324"/>
            <a:ext cx="2522225" cy="720853"/>
          </a:xfrm>
          <a:prstGeom prst="rect">
            <a:avLst/>
          </a:prstGeom>
        </p:spPr>
      </p:pic>
      <p:pic>
        <p:nvPicPr>
          <p:cNvPr id="21" name="図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3563433"/>
            <a:ext cx="2522225" cy="722377"/>
          </a:xfrm>
          <a:prstGeom prst="rect">
            <a:avLst/>
          </a:prstGeom>
        </p:spPr>
      </p:pic>
      <p:pic>
        <p:nvPicPr>
          <p:cNvPr id="22" name="図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5089489"/>
            <a:ext cx="2522225" cy="720853"/>
          </a:xfrm>
          <a:prstGeom prst="rect">
            <a:avLst/>
          </a:prstGeom>
        </p:spPr>
      </p:pic>
      <p:pic>
        <p:nvPicPr>
          <p:cNvPr id="24" name="図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2060324"/>
            <a:ext cx="2522225" cy="720853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3563433"/>
            <a:ext cx="2522225" cy="722377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5089489"/>
            <a:ext cx="2522225" cy="720853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01" r="4829" b="8314"/>
          <a:stretch/>
        </p:blipFill>
        <p:spPr>
          <a:xfrm>
            <a:off x="539086" y="983037"/>
            <a:ext cx="1022678" cy="855364"/>
          </a:xfrm>
          <a:prstGeom prst="rect">
            <a:avLst/>
          </a:prstGeom>
        </p:spPr>
      </p:pic>
      <p:sp>
        <p:nvSpPr>
          <p:cNvPr id="370" name="テキスト ボックス 369"/>
          <p:cNvSpPr txBox="1"/>
          <p:nvPr/>
        </p:nvSpPr>
        <p:spPr>
          <a:xfrm>
            <a:off x="539086" y="139827"/>
            <a:ext cx="53976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1. RMP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マーク（青）　</a:t>
            </a: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白・薄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</a:t>
            </a:fld>
            <a:endParaRPr kumimoji="1" lang="ja-JP" altLang="en-US"/>
          </a:p>
        </p:txBody>
      </p:sp>
      <p:graphicFrame>
        <p:nvGraphicFramePr>
          <p:cNvPr id="7" name="オブジェクト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1166842"/>
              </p:ext>
            </p:extLst>
          </p:nvPr>
        </p:nvGraphicFramePr>
        <p:xfrm>
          <a:off x="2258139" y="2832835"/>
          <a:ext cx="1230313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6" name="パッケージャー シェル オブジェクト" showAsIcon="1" r:id="rId13" imgW="1230480" imgH="364680" progId="Package">
                  <p:embed/>
                </p:oleObj>
              </mc:Choice>
              <mc:Fallback>
                <p:oleObj name="パッケージャー シェル オブジェクト" showAsIcon="1" r:id="rId13" imgW="12304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258139" y="2832835"/>
                        <a:ext cx="1230313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オブジェクト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71530938"/>
              </p:ext>
            </p:extLst>
          </p:nvPr>
        </p:nvGraphicFramePr>
        <p:xfrm>
          <a:off x="2207339" y="4346712"/>
          <a:ext cx="1331913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7" name="パッケージャー シェル オブジェクト" showAsIcon="1" r:id="rId15" imgW="1331280" imgH="364680" progId="Package">
                  <p:embed/>
                </p:oleObj>
              </mc:Choice>
              <mc:Fallback>
                <p:oleObj name="パッケージャー シェル オブジェクト" showAsIcon="1" r:id="rId15" imgW="13312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207339" y="4346712"/>
                        <a:ext cx="1331913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オブジェクト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29663695"/>
              </p:ext>
            </p:extLst>
          </p:nvPr>
        </p:nvGraphicFramePr>
        <p:xfrm>
          <a:off x="2207339" y="5860590"/>
          <a:ext cx="1331913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8" name="パッケージャー シェル オブジェクト" showAsIcon="1" r:id="rId17" imgW="1331280" imgH="364680" progId="Package">
                  <p:embed/>
                </p:oleObj>
              </mc:Choice>
              <mc:Fallback>
                <p:oleObj name="パッケージャー シェル オブジェクト" showAsIcon="1" r:id="rId17" imgW="13312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207339" y="5860590"/>
                        <a:ext cx="1331913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オブジェクト 2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5637263"/>
              </p:ext>
            </p:extLst>
          </p:nvPr>
        </p:nvGraphicFramePr>
        <p:xfrm>
          <a:off x="4534660" y="5860590"/>
          <a:ext cx="1365251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9" name="パッケージャー シェル オブジェクト" showAsIcon="1" r:id="rId19" imgW="1364760" imgH="364680" progId="Package">
                  <p:embed/>
                </p:oleObj>
              </mc:Choice>
              <mc:Fallback>
                <p:oleObj name="パッケージャー シェル オブジェクト" showAsIcon="1" r:id="rId19" imgW="13647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4534660" y="5860590"/>
                        <a:ext cx="1365251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" name="オブジェクト 2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34147397"/>
              </p:ext>
            </p:extLst>
          </p:nvPr>
        </p:nvGraphicFramePr>
        <p:xfrm>
          <a:off x="4585460" y="2892839"/>
          <a:ext cx="1263651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0" name="パッケージャー シェル オブジェクト" showAsIcon="1" r:id="rId21" imgW="1263960" imgH="364680" progId="Package">
                  <p:embed/>
                </p:oleObj>
              </mc:Choice>
              <mc:Fallback>
                <p:oleObj name="パッケージャー シェル オブジェクト" showAsIcon="1" r:id="rId21" imgW="12639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4585460" y="2892839"/>
                        <a:ext cx="1263651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オブジェクト 2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1173443"/>
              </p:ext>
            </p:extLst>
          </p:nvPr>
        </p:nvGraphicFramePr>
        <p:xfrm>
          <a:off x="4534660" y="4346712"/>
          <a:ext cx="13652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1" name="パッケージャー シェル オブジェクト" showAsIcon="1" r:id="rId23" imgW="1364760" imgH="364680" progId="Package">
                  <p:embed/>
                </p:oleObj>
              </mc:Choice>
              <mc:Fallback>
                <p:oleObj name="パッケージャー シェル オブジェクト" showAsIcon="1" r:id="rId23" imgW="13647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4534660" y="4346712"/>
                        <a:ext cx="13652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オブジェクト 2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2382365"/>
              </p:ext>
            </p:extLst>
          </p:nvPr>
        </p:nvGraphicFramePr>
        <p:xfrm>
          <a:off x="6869337" y="5860590"/>
          <a:ext cx="14255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2" name="パッケージャー シェル オブジェクト" showAsIcon="1" r:id="rId25" imgW="1425240" imgH="364680" progId="Package">
                  <p:embed/>
                </p:oleObj>
              </mc:Choice>
              <mc:Fallback>
                <p:oleObj name="パッケージャー シェル オブジェクト" showAsIcon="1" r:id="rId25" imgW="14252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6869337" y="5860590"/>
                        <a:ext cx="14255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オブジェクト 3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428678"/>
              </p:ext>
            </p:extLst>
          </p:nvPr>
        </p:nvGraphicFramePr>
        <p:xfrm>
          <a:off x="6920137" y="2892839"/>
          <a:ext cx="13239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3" name="パッケージャー シェル オブジェクト" showAsIcon="1" r:id="rId27" imgW="1324440" imgH="364680" progId="Package">
                  <p:embed/>
                </p:oleObj>
              </mc:Choice>
              <mc:Fallback>
                <p:oleObj name="パッケージャー シェル オブジェクト" showAsIcon="1" r:id="rId27" imgW="13244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6920137" y="2892839"/>
                        <a:ext cx="13239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2" name="オブジェクト 35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3207811"/>
              </p:ext>
            </p:extLst>
          </p:nvPr>
        </p:nvGraphicFramePr>
        <p:xfrm>
          <a:off x="6869337" y="4346712"/>
          <a:ext cx="14255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4" name="パッケージャー シェル オブジェクト" showAsIcon="1" r:id="rId29" imgW="1425240" imgH="364680" progId="Package">
                  <p:embed/>
                </p:oleObj>
              </mc:Choice>
              <mc:Fallback>
                <p:oleObj name="パッケージャー シェル オブジェクト" showAsIcon="1" r:id="rId29" imgW="14252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6869337" y="4346712"/>
                        <a:ext cx="14255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71470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X2meiYJUeOxhFKzokxsw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77</TotalTime>
  <Words>61</Words>
  <Application>Microsoft Office PowerPoint</Application>
  <PresentationFormat>画面に合わせる (4:3)</PresentationFormat>
  <Paragraphs>15</Paragraphs>
  <Slides>1</Slides>
  <Notes>0</Notes>
  <HiddenSlides>0</HiddenSlides>
  <MMClips>0</MMClips>
  <ScaleCrop>false</ScaleCrop>
  <HeadingPairs>
    <vt:vector size="6" baseType="variant"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3" baseType="lpstr">
      <vt:lpstr>Office テーマ</vt:lpstr>
      <vt:lpstr>パッケージャー シェル オブジェクト</vt:lpstr>
      <vt:lpstr>PowerPoint プレゼンテーション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Haruka 熊谷遥(営業業務部ＳＣＭ－Ｇ)</dc:creator>
  <cp:lastModifiedBy>仲座 加奈子</cp:lastModifiedBy>
  <cp:revision>123</cp:revision>
  <cp:lastPrinted>2017-06-29T12:14:47Z</cp:lastPrinted>
  <dcterms:created xsi:type="dcterms:W3CDTF">2017-06-13T01:38:36Z</dcterms:created>
  <dcterms:modified xsi:type="dcterms:W3CDTF">2017-07-20T02:35:03Z</dcterms:modified>
</cp:coreProperties>
</file>